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notesSlides/notesSlide1.xml" ContentType="application/vnd.openxmlformats-officedocument.presentationml.notesSlide+xml"/>
  <Override PartName="/ppt/tags/tag44.xml" ContentType="application/vnd.openxmlformats-officedocument.presentationml.tags+xml"/>
  <Override PartName="/ppt/notesSlides/notesSlide2.xml" ContentType="application/vnd.openxmlformats-officedocument.presentationml.notesSlide+xml"/>
  <Override PartName="/ppt/tags/tag45.xml" ContentType="application/vnd.openxmlformats-officedocument.presentationml.tags+xml"/>
  <Override PartName="/ppt/notesSlides/notesSlide3.xml" ContentType="application/vnd.openxmlformats-officedocument.presentationml.notesSlide+xml"/>
  <Override PartName="/ppt/tags/tag46.xml" ContentType="application/vnd.openxmlformats-officedocument.presentationml.tags+xml"/>
  <Override PartName="/ppt/notesSlides/notesSlide4.xml" ContentType="application/vnd.openxmlformats-officedocument.presentationml.notesSlide+xml"/>
  <Override PartName="/ppt/tags/tag47.xml" ContentType="application/vnd.openxmlformats-officedocument.presentationml.tags+xml"/>
  <Override PartName="/ppt/notesSlides/notesSlide5.xml" ContentType="application/vnd.openxmlformats-officedocument.presentationml.notesSlide+xml"/>
  <Override PartName="/ppt/tags/tag48.xml" ContentType="application/vnd.openxmlformats-officedocument.presentationml.tags+xml"/>
  <Override PartName="/ppt/notesSlides/notesSlide6.xml" ContentType="application/vnd.openxmlformats-officedocument.presentationml.notesSlide+xml"/>
  <Override PartName="/ppt/tags/tag49.xml" ContentType="application/vnd.openxmlformats-officedocument.presentationml.tags+xml"/>
  <Override PartName="/ppt/charts/chart16.xml" ContentType="application/vnd.openxmlformats-officedocument.drawingml.chart+xml"/>
  <Override PartName="/ppt/tags/tag50.xml" ContentType="application/vnd.openxmlformats-officedocument.presentationml.tags+xml"/>
  <Override PartName="/ppt/charts/chart17.xml" ContentType="application/vnd.openxmlformats-officedocument.drawingml.chart+xml"/>
  <Override PartName="/ppt/tags/tag51.xml" ContentType="application/vnd.openxmlformats-officedocument.presentationml.tags+xml"/>
  <Override PartName="/ppt/charts/chart18.xml" ContentType="application/vnd.openxmlformats-officedocument.drawingml.chart+xml"/>
  <Override PartName="/ppt/tags/tag52.xml" ContentType="application/vnd.openxmlformats-officedocument.presentationml.tags+xml"/>
  <Override PartName="/ppt/charts/chart19.xml" ContentType="application/vnd.openxmlformats-officedocument.drawingml.chart+xml"/>
  <Override PartName="/ppt/tags/tag53.xml" ContentType="application/vnd.openxmlformats-officedocument.presentationml.tags+xml"/>
  <Override PartName="/ppt/charts/chart20.xml" ContentType="application/vnd.openxmlformats-officedocument.drawingml.chart+xml"/>
  <Override PartName="/ppt/tags/tag54.xml" ContentType="application/vnd.openxmlformats-officedocument.presentationml.tags+xml"/>
  <Override PartName="/ppt/charts/chart21.xml" ContentType="application/vnd.openxmlformats-officedocument.drawingml.chart+xml"/>
  <Override PartName="/ppt/tags/tag55.xml" ContentType="application/vnd.openxmlformats-officedocument.presentationml.tags+xml"/>
  <Override PartName="/ppt/charts/chart22.xml" ContentType="application/vnd.openxmlformats-officedocument.drawingml.chart+xml"/>
  <Override PartName="/ppt/tags/tag56.xml" ContentType="application/vnd.openxmlformats-officedocument.presentationml.tags+xml"/>
  <Override PartName="/ppt/charts/chart23.xml" ContentType="application/vnd.openxmlformats-officedocument.drawingml.chart+xml"/>
  <Override PartName="/ppt/tags/tag57.xml" ContentType="application/vnd.openxmlformats-officedocument.presentationml.tags+xml"/>
  <Override PartName="/ppt/charts/chart24.xml" ContentType="application/vnd.openxmlformats-officedocument.drawingml.chart+xml"/>
  <Override PartName="/ppt/tags/tag58.xml" ContentType="application/vnd.openxmlformats-officedocument.presentationml.tags+xml"/>
  <Override PartName="/ppt/charts/chart25.xml" ContentType="application/vnd.openxmlformats-officedocument.drawingml.chart+xml"/>
  <Override PartName="/ppt/tags/tag59.xml" ContentType="application/vnd.openxmlformats-officedocument.presentationml.tags+xml"/>
  <Override PartName="/ppt/charts/chart26.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3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id="{DCB8D14A-26CC-4BE3-9FD7-DB15D63A3EB9}">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Lst>
        </p14:section>
        <p14:section name="Sectors Share and Growth By Brands" id="{87A37787-72F8-401A-92D8-44752F8A4CA9}">
          <p14:sldIdLst>
            <p14:sldId id="2147477380"/>
            <p14:sldId id="2147477381"/>
            <p14:sldId id="2147477382"/>
          </p14:sldIdLst>
        </p14:section>
        <p14:section name="Segments Share and Growth By Brands" id="{B91E56BD-8F6D-4FFE-97E4-3654B1F3AD61}">
          <p14:sldIdLst>
            <p14:sldId id="2147477383"/>
            <p14:sldId id="2147477384"/>
            <p14:sldId id="2147477385"/>
          </p14:sldIdLst>
        </p14:section>
        <p14:section name="Price Point Distribution Analysis By Brand" id="{A46D4DFB-44EC-48B3-BEC2-3AD40525BA57}">
          <p14:sldIdLst>
            <p14:sldId id="2147477386"/>
            <p14:sldId id="2147477387"/>
            <p14:sldId id="2147477388"/>
            <p14:sldId id="2147477389"/>
            <p14:sldId id="2147477390"/>
            <p14:sldId id="2147477391"/>
            <p14:sldId id="2147477392"/>
            <p14:sldId id="2147477393"/>
            <p14:sldId id="2147477394"/>
            <p14:sldId id="2147477395"/>
            <p14:sldId id="214747739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0" d="100"/>
          <a:sy n="80" d="100"/>
        </p:scale>
        <p:origin x="67" y="379"/>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FE3DF3A-5154-4B46-9B7F-2DC5D486AA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B1F996B-DED6-4310-BC6E-1625353E8B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6209650-FB14-414A-9040-A8017DE00D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DAC7E59-D3A9-4041-B5A8-E32A5DE2AE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1FD910C-BDF9-48ED-8398-5DD65937D1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E27F346-6196-447D-AA70-EABD241192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D52A86D-0DA3-4A11-B0A1-E9DF079557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6442637-E8E9-4432-B754-73792D0BB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ECEA4B-3FE8-4B7F-82F1-0A1502FFDB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561846C-00B2-434B-BE1F-764D0AAFA0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8363D81-FB45-438A-94D5-941E1A3704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5AF4C8-26D1-4ED8-8D19-7C39BBEDE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6CEBB61-1763-4EEC-800F-9085C77E8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6AE1663-12B5-4757-BCFD-4018A0E972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8A836F6-DC7A-4F22-A51A-F5E541782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8D8A36E-A1DE-4E4D-9088-4012782AA0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C7BEC8C-1E2B-4DF2-B04D-E2488369B5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16DF45-DDD8-4CDC-B01C-A57BFBA6F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8BAA1D-6464-4E8A-B158-FC546375CE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F3FF1D-223E-41E8-999A-BB5EF8A06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B78F49A-6B4D-4DFA-99EF-B6744E525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123E0C3-1E0D-4C7A-A13F-8EF68320BD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60EAE50-7BEA-416A-AF81-346D4178D6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145412C-7723-4F98-B718-674B06435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F2E229-1987-4948-9015-53CA068CCA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45A70FD-BF46-4F8A-BB66-9DA42181C5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7A46EA-7F99-400C-9CD6-9EF79BE8F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B01DF3-0B70-4AC9-838E-F9370F61AD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E75A0A-7E49-408A-A4E9-3ABDB4715A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6DAE2C4-97D0-4998-92C7-37CE3A06F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A5585EC-B83A-483F-B20C-03AB447C9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18A08F4-78BC-41F8-B631-135F9D2A8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246557-691D-4A89-A10A-C2D4B0A531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B428B63-6EDE-498E-A45E-226BC6FEB3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9CF3E63-1F51-4546-816B-EA29FF3563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CA3D56C-69B3-4C38-96E7-49B6DD58B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A7DEF2C-6462-4289-80B0-099CD5C069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DA025BA-2044-4C1E-9DEE-27A19B7BE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3DC9A1-C8D1-4D2A-B21F-45607AA00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9045A86-AF39-4B49-8C05-DBBF70107F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4F20419-A8AB-4F0D-A98D-7433EDB8AF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E05256-6701-40DA-82CC-69E54ED76E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D5434FF-C3E4-469B-B664-386FAB98A5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4D3477-3A1B-4A74-A3B6-199D1EA61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7A6DC5-0542-4013-8179-D615C2C35C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54C873A-FFAF-4113-9F6D-0C159623A7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0BFB9EC-450D-4607-9847-F14A914CF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AF6F8D7-79FB-4D20-A61E-C8D3E4774F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592056-4A1C-4523-B969-AA347A6E74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8CC9920-85CC-42A1-9857-598DFDEB00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B11EEF9-901F-4642-BF9E-BB92E30D81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AFFD445-1CCB-4717-A2D8-6A93FBEF95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E0256D-49B6-4DC9-B43F-BE2D039F3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9D0E3C0-0088-4A1D-8A52-9E60F4C6AE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1CA7DE7-86EB-4E94-AC8C-785B71ABF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17074DA-EDF8-45FA-B444-F919C50373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9FC13BA-0C01-4251-BDD2-577159349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F6CB08-12BA-49F5-8DE0-D8F2CF634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A07B76-1C08-4B96-A212-4759B533C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85E6D2-9501-46D3-9BAA-55C7EB7A39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C40DBDC-9700-420D-A574-7037EDBF2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6458887-5AA6-46AB-9A41-79550803B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EE50E8C-6D19-4C68-815F-1DF6E8DDB0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B869A1A-7C94-4486-A60E-B99BDC2EB9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898331A-C161-44B1-80DD-20DAF57447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6E0252-DA06-4EDB-A7F6-39B31117A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DA8DE01-908F-489B-AF16-8743947B7C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12B6EA0-CE16-4AEA-8536-E767CE5314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BB7912-A1D4-4D78-8239-90F35E589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22B8EFE-3DD0-45DF-9737-55C5A3C724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5552A12-8808-48E5-A799-797EF73296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E9D8A25-17BA-4239-8DAC-E2770EB14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46740E-1C0A-4B1E-B674-613DBEBCE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B1E0AE-83EA-488E-8C5E-BE93D7501D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738C680-6F51-4546-A256-65D7A9B52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5280D1-CC06-47D0-909E-B4446BAF36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969818D-AB96-44D4-8692-6AB0357D12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67538B7-4814-46B0-BCC7-501DB699E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C123395-AE5B-4F27-A1CD-53D978E540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F0A4E91-A031-4C9D-B0D0-6F36D0958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8334FA-4986-4FA3-B8BA-1D9DA5BCC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144F15-B093-41FD-AC4B-508BC8233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0F0E1D-A311-4EE2-9829-DC77BAD75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187D39-749B-46FE-A4EA-86226D6EE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0A806C0-6A5A-4E36-A498-B9AF3327B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B5BC1B3-A3DB-4710-ABA5-5DA0B686E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8CF8AB-F7B6-4D54-A7BB-5DBE5A9489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E01BDDD-4576-41CE-BFB3-B2BDA0149C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4DF46A8-ECEA-44B1-850B-330B4657E9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9EE12B-3C6F-42C6-88BA-D529B9D2B7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3BB204A-5D2F-4A7F-BFE4-DA8A99D15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316731A-48A1-4899-BA09-445DBFFACD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777AC26-25CE-4EA4-8223-549DDD8C6F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9AE4176-135F-48BF-8739-9DE43F9D7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14ACE00-D278-4656-A9D8-BB50C0C69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57776F6-60BF-4D01-8BEF-9DBAB54A1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9DA926-2618-4F4E-B5C7-8BB663585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BD7C285-2199-4E15-A4D3-E1A71F7A5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8B0FD7-F7A2-4093-B301-BFFAE49B5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82A230C-4694-4DB8-BDE3-14F7DDB0AC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9E61EBE-F660-49A4-9ECB-3F9A00FBA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0A22430-F653-467F-BE32-27DF37CBC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7303BEE-695B-4337-A2A2-BF8F4C00A7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06CF2CE-46FE-4A8A-8889-FF714923F1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A23A4B-05BD-4FE1-8A9E-AE635BB9D1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5AC6458-708A-4AE9-9E10-109566E2A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6615B4-A5F7-41A5-9AF9-002CC9B092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31A7A1D-5E27-4654-BF4A-AB4D707FD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A915C28-3E82-49E6-9AB1-7D396171E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2742F0F-BBC5-4384-98C4-089E30BC3D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32962A1-B363-4352-8071-C0B1EB3E16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112A4EA-3ADB-4326-BD40-D19F548FB0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0A04135-9436-4B55-AB2F-80B6C040C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62BA3D-E46B-4E22-B153-7A1269B78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3822946-D93F-4F1C-A7B4-DE892C5D8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FB42C2C-1CC0-4CC2-9299-9E560148E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A836EE5-2C60-4F0F-AD0E-081790D258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A360606-4442-4363-B431-9C3E5AE9D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2BC935-FA1E-4DA5-A51B-E2CA4AA038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654EC13-8B19-42BD-9935-B0AD5C69C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1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16.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1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18.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1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0.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1.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3.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24.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25.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26.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659656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690368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590417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289599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821554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280554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146026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746262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370963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706807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782806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825874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914356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1/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2356435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835291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591175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2798686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1242967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79620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204675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339691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110354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997929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947580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742937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618100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579242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254754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236525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199224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140711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1/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0697871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786555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4426</Words>
  <Application>Microsoft Office PowerPoint</Application>
  <PresentationFormat>On-screen Show (16:9)</PresentationFormat>
  <Paragraphs>1631</Paragraphs>
  <Slides>32</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2"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11T08:3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